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201A6A-4C5F-473D-BD2F-4FB52A50645A}" v="27" dt="2023-01-31T22:36:23.8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2-23T00:53:49.650" v="536" actId="27918"/>
      <pc:docMkLst>
        <pc:docMk/>
      </pc:docMkLst>
      <pc:sldChg chg="modSp mod">
        <pc:chgData name="Roberto Gallardo" userId="49a044883f185952" providerId="LiveId" clId="{34201A6A-4C5F-473D-BD2F-4FB52A50645A}" dt="2023-01-31T22:35:59.949" v="511" actId="20577"/>
        <pc:sldMkLst>
          <pc:docMk/>
          <pc:sldMk cId="2846901679" sldId="256"/>
        </pc:sldMkLst>
        <pc:spChg chg="mod">
          <ac:chgData name="Roberto Gallardo" userId="49a044883f185952" providerId="LiveId" clId="{34201A6A-4C5F-473D-BD2F-4FB52A50645A}" dt="2023-01-31T22:35:59.949" v="511" actId="20577"/>
          <ac:spMkLst>
            <pc:docMk/>
            <pc:sldMk cId="2846901679" sldId="256"/>
            <ac:spMk id="7" creationId="{B1E0ABEC-554C-720A-2772-F0324C8E93CA}"/>
          </ac:spMkLst>
        </pc:spChg>
      </pc:sldChg>
      <pc:sldChg chg="mod">
        <pc:chgData name="Roberto Gallardo" userId="49a044883f185952" providerId="LiveId" clId="{34201A6A-4C5F-473D-BD2F-4FB52A50645A}" dt="2023-02-23T00:53:49.650" v="536" actId="27918"/>
        <pc:sldMkLst>
          <pc:docMk/>
          <pc:sldMk cId="3231157596" sldId="257"/>
        </pc:sldMkLst>
      </pc:sldChg>
      <pc:sldChg chg="mod">
        <pc:chgData name="Roberto Gallardo" userId="49a044883f185952" providerId="LiveId" clId="{34201A6A-4C5F-473D-BD2F-4FB52A50645A}" dt="2023-02-23T00:53:00.992" v="524" actId="27918"/>
        <pc:sldMkLst>
          <pc:docMk/>
          <pc:sldMk cId="3702837515" sldId="258"/>
        </pc:sldMkLst>
      </pc:sldChg>
      <pc:sldChg chg="mod">
        <pc:chgData name="Roberto Gallardo" userId="49a044883f185952" providerId="LiveId" clId="{34201A6A-4C5F-473D-BD2F-4FB52A50645A}" dt="2023-02-23T00:53:27.404" v="530"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31T22:36:27.690" v="518" actId="1036"/>
        <pc:sldMkLst>
          <pc:docMk/>
          <pc:sldMk cId="513409896" sldId="276"/>
        </pc:sldMkLst>
        <pc:spChg chg="mod">
          <ac:chgData name="Roberto Gallardo" userId="49a044883f185952" providerId="LiveId" clId="{34201A6A-4C5F-473D-BD2F-4FB52A50645A}" dt="2023-01-31T22:36:27.690" v="518" actId="1036"/>
          <ac:spMkLst>
            <pc:docMk/>
            <pc:sldMk cId="513409896" sldId="276"/>
            <ac:spMk id="3" creationId="{AADBAC77-8094-925B-9C83-2132E5A4A84C}"/>
          </ac:spMkLst>
        </pc:spChg>
        <pc:spChg chg="mod">
          <ac:chgData name="Roberto Gallardo" userId="49a044883f185952" providerId="LiveId" clId="{34201A6A-4C5F-473D-BD2F-4FB52A50645A}" dt="2023-01-31T22:36:27.690" v="518" actId="1036"/>
          <ac:spMkLst>
            <pc:docMk/>
            <pc:sldMk cId="513409896" sldId="276"/>
            <ac:spMk id="5" creationId="{EA0F984F-F15C-B54F-E4CE-75954416187D}"/>
          </ac:spMkLst>
        </pc:spChg>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31T22:36:12.196" v="514" actId="27918"/>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8T00:30:50.048" v="498"/>
        <pc:sldMkLst>
          <pc:docMk/>
          <pc:sldMk cId="3324519687" sldId="293"/>
        </pc:sldMkLst>
        <pc:spChg chg="del">
          <ac:chgData name="Roberto Gallardo" userId="49a044883f185952" providerId="LiveId" clId="{34201A6A-4C5F-473D-BD2F-4FB52A50645A}" dt="2023-01-18T00:30:49.760" v="497" actId="478"/>
          <ac:spMkLst>
            <pc:docMk/>
            <pc:sldMk cId="3324519687" sldId="293"/>
            <ac:spMk id="3" creationId="{AF651823-818E-912D-E331-CDEB914505A8}"/>
          </ac:spMkLst>
        </pc:spChg>
        <pc:spChg chg="add mod">
          <ac:chgData name="Roberto Gallardo" userId="49a044883f185952" providerId="LiveId" clId="{34201A6A-4C5F-473D-BD2F-4FB52A50645A}" dt="2023-01-18T00:30:50.048" v="498"/>
          <ac:spMkLst>
            <pc:docMk/>
            <pc:sldMk cId="3324519687" sldId="293"/>
            <ac:spMk id="5" creationId="{D5983BAC-F0A8-67AD-9ADA-1132EF8FA697}"/>
          </ac:spMkLst>
        </pc:spChg>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sldChg chg="del">
        <pc:chgData name="Roberto Gallardo" userId="49a044883f185952" providerId="LiveId" clId="{34201A6A-4C5F-473D-BD2F-4FB52A50645A}" dt="2023-01-17T23:31:49.500" v="466" actId="47"/>
        <pc:sldMkLst>
          <pc:docMk/>
          <pc:sldMk cId="230398305" sldId="301"/>
        </pc:sldMkLst>
      </pc:sldChg>
      <pc:sldChg chg="add">
        <pc:chgData name="Roberto Gallardo" userId="49a044883f185952" providerId="LiveId" clId="{34201A6A-4C5F-473D-BD2F-4FB52A50645A}" dt="2023-01-17T23:31:47.849" v="465"/>
        <pc:sldMkLst>
          <pc:docMk/>
          <pc:sldMk cId="1515423683" sldId="302"/>
        </pc:sldMkLst>
      </pc:sldChg>
      <pc:sldChg chg="add mod">
        <pc:chgData name="Roberto Gallardo" userId="49a044883f185952" providerId="LiveId" clId="{34201A6A-4C5F-473D-BD2F-4FB52A50645A}" dt="2023-01-18T00:12:48.661" v="477" actId="27918"/>
        <pc:sldMkLst>
          <pc:docMk/>
          <pc:sldMk cId="2841628872" sldId="303"/>
        </pc:sldMkLst>
      </pc:sldChg>
      <pc:sldChg chg="add del">
        <pc:chgData name="Roberto Gallardo" userId="49a044883f185952" providerId="LiveId" clId="{34201A6A-4C5F-473D-BD2F-4FB52A50645A}" dt="2023-01-17T23:35:52.022" v="469" actId="47"/>
        <pc:sldMkLst>
          <pc:docMk/>
          <pc:sldMk cId="3700282378" sldId="303"/>
        </pc:sldMkLst>
      </pc:sldChg>
      <pc:sldChg chg="add del">
        <pc:chgData name="Roberto Gallardo" userId="49a044883f185952" providerId="LiveId" clId="{34201A6A-4C5F-473D-BD2F-4FB52A50645A}" dt="2023-01-17T23:35:52.022" v="469" actId="47"/>
        <pc:sldMkLst>
          <pc:docMk/>
          <pc:sldMk cId="2841628872" sldId="304"/>
        </pc:sldMkLst>
      </pc:sldChg>
      <pc:sldChg chg="add mod">
        <pc:chgData name="Roberto Gallardo" userId="49a044883f185952" providerId="LiveId" clId="{34201A6A-4C5F-473D-BD2F-4FB52A50645A}" dt="2023-01-18T00:13:18.998" v="484" actId="27918"/>
        <pc:sldMkLst>
          <pc:docMk/>
          <pc:sldMk cId="3084076302" sldId="304"/>
        </pc:sldMkLst>
      </pc:sldChg>
      <pc:sldChg chg="add mod">
        <pc:chgData name="Roberto Gallardo" userId="49a044883f185952" providerId="LiveId" clId="{34201A6A-4C5F-473D-BD2F-4FB52A50645A}" dt="2023-01-18T00:14:22.252" v="496" actId="27918"/>
        <pc:sldMkLst>
          <pc:docMk/>
          <pc:sldMk cId="473712435" sldId="305"/>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Lumber River</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140277405378719</c:v>
                </c:pt>
                <c:pt idx="2">
                  <c:v>1.0288470950745436</c:v>
                </c:pt>
                <c:pt idx="3">
                  <c:v>1.0481692862280445</c:v>
                </c:pt>
                <c:pt idx="4">
                  <c:v>1.0676021331018075</c:v>
                </c:pt>
                <c:pt idx="5">
                  <c:v>1.0844473385171283</c:v>
                </c:pt>
                <c:pt idx="6">
                  <c:v>1.101956478254023</c:v>
                </c:pt>
                <c:pt idx="7">
                  <c:v>1.1177887582300192</c:v>
                </c:pt>
                <c:pt idx="8">
                  <c:v>1.1348935789890324</c:v>
                </c:pt>
                <c:pt idx="9">
                  <c:v>1.1485425364844677</c:v>
                </c:pt>
                <c:pt idx="10">
                  <c:v>1.1574801138902722</c:v>
                </c:pt>
                <c:pt idx="11">
                  <c:v>1.161204104476024</c:v>
                </c:pt>
                <c:pt idx="12">
                  <c:v>1.1653281580504165</c:v>
                </c:pt>
                <c:pt idx="13">
                  <c:v>1.1693245319475833</c:v>
                </c:pt>
                <c:pt idx="14">
                  <c:v>1.1802879602320366</c:v>
                </c:pt>
                <c:pt idx="15">
                  <c:v>1.1922855939020187</c:v>
                </c:pt>
                <c:pt idx="16">
                  <c:v>1.1997931589228943</c:v>
                </c:pt>
                <c:pt idx="17">
                  <c:v>1.2096500300047242</c:v>
                </c:pt>
                <c:pt idx="18">
                  <c:v>1.2205113145473969</c:v>
                </c:pt>
                <c:pt idx="19">
                  <c:v>1.22884879747024</c:v>
                </c:pt>
                <c:pt idx="20">
                  <c:v>1.2762307256887255</c:v>
                </c:pt>
                <c:pt idx="21">
                  <c:v>1.2872537378225508</c:v>
                </c:pt>
                <c:pt idx="22">
                  <c:v>1.2904329617854726</c:v>
                </c:pt>
                <c:pt idx="23">
                  <c:v>1.2893647084860169</c:v>
                </c:pt>
                <c:pt idx="24">
                  <c:v>1.2866068274579401</c:v>
                </c:pt>
                <c:pt idx="25">
                  <c:v>1.2854449423951857</c:v>
                </c:pt>
                <c:pt idx="26">
                  <c:v>1.2781714567825573</c:v>
                </c:pt>
                <c:pt idx="27">
                  <c:v>1.2776820180198585</c:v>
                </c:pt>
                <c:pt idx="28">
                  <c:v>1.2741112430467776</c:v>
                </c:pt>
                <c:pt idx="29">
                  <c:v>1.2692764392691616</c:v>
                </c:pt>
                <c:pt idx="30">
                  <c:v>1.1711290713857074</c:v>
                </c:pt>
                <c:pt idx="31">
                  <c:v>1.1743040393593884</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6.2415871715339151</c:v>
                </c:pt>
                <c:pt idx="1">
                  <c:v>21.857032523813611</c:v>
                </c:pt>
                <c:pt idx="2">
                  <c:v>11.281609463046617</c:v>
                </c:pt>
                <c:pt idx="3">
                  <c:v>22.733381974578549</c:v>
                </c:pt>
                <c:pt idx="4">
                  <c:v>4.6510842396811451</c:v>
                </c:pt>
                <c:pt idx="5">
                  <c:v>16.600000000000001</c:v>
                </c:pt>
                <c:pt idx="6">
                  <c:v>50.9</c:v>
                </c:pt>
                <c:pt idx="7">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0.35699654708257739</c:v>
                </c:pt>
                <c:pt idx="1">
                  <c:v>2.2989788037415257</c:v>
                </c:pt>
                <c:pt idx="2">
                  <c:v>0.28873469007590929</c:v>
                </c:pt>
                <c:pt idx="3">
                  <c:v>1.7990860566030491</c:v>
                </c:pt>
                <c:pt idx="4">
                  <c:v>2.3643855975140175E-2</c:v>
                </c:pt>
                <c:pt idx="5">
                  <c:v>1.4</c:v>
                </c:pt>
                <c:pt idx="6">
                  <c:v>18</c:v>
                </c:pt>
                <c:pt idx="7">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56.02797448352549</c:v>
                </c:pt>
                <c:pt idx="1">
                  <c:v>70.917360336394069</c:v>
                </c:pt>
                <c:pt idx="2">
                  <c:v>58.461789223676242</c:v>
                </c:pt>
                <c:pt idx="3">
                  <c:v>57.749318382550598</c:v>
                </c:pt>
                <c:pt idx="4">
                  <c:v>82.510301965817746</c:v>
                </c:pt>
                <c:pt idx="5">
                  <c:v>65.900000000000006</c:v>
                </c:pt>
                <c:pt idx="6">
                  <c:v>40.700000000000003</c:v>
                </c:pt>
                <c:pt idx="7">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15.962455575468546</c:v>
                </c:pt>
                <c:pt idx="1">
                  <c:v>16.640094126473922</c:v>
                </c:pt>
                <c:pt idx="2">
                  <c:v>16.856443292842371</c:v>
                </c:pt>
                <c:pt idx="3">
                  <c:v>18.813754524514643</c:v>
                </c:pt>
                <c:pt idx="4">
                  <c:v>16.149276772829481</c:v>
                </c:pt>
                <c:pt idx="5">
                  <c:v>16.899999999999999</c:v>
                </c:pt>
                <c:pt idx="6">
                  <c:v>13.2</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7.2569050321604243</c:v>
                </c:pt>
                <c:pt idx="1">
                  <c:v>6.9748050660296572</c:v>
                </c:pt>
                <c:pt idx="2">
                  <c:v>6.6326065140041965</c:v>
                </c:pt>
                <c:pt idx="3">
                  <c:v>16.409201105034672</c:v>
                </c:pt>
                <c:pt idx="4">
                  <c:v>9.3202905243713001</c:v>
                </c:pt>
                <c:pt idx="5">
                  <c:v>8.8000000000000007</c:v>
                </c:pt>
                <c:pt idx="6">
                  <c:v>8</c:v>
                </c:pt>
                <c:pt idx="7">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58.273402241956617</c:v>
                </c:pt>
                <c:pt idx="1">
                  <c:v>76.172203709313678</c:v>
                </c:pt>
                <c:pt idx="2">
                  <c:v>44.093669892150302</c:v>
                </c:pt>
                <c:pt idx="3">
                  <c:v>61.937165749774771</c:v>
                </c:pt>
                <c:pt idx="4">
                  <c:v>45.507390798870617</c:v>
                </c:pt>
                <c:pt idx="5">
                  <c:v>63</c:v>
                </c:pt>
                <c:pt idx="6">
                  <c:v>37.9</c:v>
                </c:pt>
                <c:pt idx="7">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26.078212981869935</c:v>
                </c:pt>
                <c:pt idx="1">
                  <c:v>27.269417475728154</c:v>
                </c:pt>
                <c:pt idx="2">
                  <c:v>24.950023798191339</c:v>
                </c:pt>
                <c:pt idx="3">
                  <c:v>17.893822088797599</c:v>
                </c:pt>
                <c:pt idx="4">
                  <c:v>24.551019035447634</c:v>
                </c:pt>
                <c:pt idx="5">
                  <c:v>24.7</c:v>
                </c:pt>
                <c:pt idx="6">
                  <c:v>13.7</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46.675945636155234</c:v>
                </c:pt>
                <c:pt idx="1">
                  <c:v>42.506095973106696</c:v>
                </c:pt>
                <c:pt idx="2">
                  <c:v>47.053768720844587</c:v>
                </c:pt>
                <c:pt idx="3">
                  <c:v>31.697260660830274</c:v>
                </c:pt>
                <c:pt idx="4">
                  <c:v>50.931082492168464</c:v>
                </c:pt>
                <c:pt idx="5">
                  <c:v>42.8</c:v>
                </c:pt>
                <c:pt idx="6">
                  <c:v>39.700000000000003</c:v>
                </c:pt>
                <c:pt idx="7">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29.707777959718356</c:v>
                </c:pt>
                <c:pt idx="1">
                  <c:v>31.429656021400998</c:v>
                </c:pt>
                <c:pt idx="2">
                  <c:v>29.139675914559298</c:v>
                </c:pt>
                <c:pt idx="3">
                  <c:v>36.402473877435753</c:v>
                </c:pt>
                <c:pt idx="4">
                  <c:v>28.423372781065094</c:v>
                </c:pt>
                <c:pt idx="5">
                  <c:v>31.4</c:v>
                </c:pt>
                <c:pt idx="6">
                  <c:v>30</c:v>
                </c:pt>
                <c:pt idx="7">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4.0117897494678232</c:v>
                </c:pt>
                <c:pt idx="1">
                  <c:v>6.9624298667171711</c:v>
                </c:pt>
                <c:pt idx="2">
                  <c:v>7.1753007611097468</c:v>
                </c:pt>
                <c:pt idx="3">
                  <c:v>14.029935046597005</c:v>
                </c:pt>
                <c:pt idx="4">
                  <c:v>7.4486599373477205</c:v>
                </c:pt>
                <c:pt idx="5">
                  <c:v>7.9</c:v>
                </c:pt>
                <c:pt idx="6">
                  <c:v>12</c:v>
                </c:pt>
                <c:pt idx="7">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B$2:$B$4</c:f>
              <c:numCache>
                <c:formatCode>#,##0.0</c:formatCode>
                <c:ptCount val="3"/>
                <c:pt idx="0">
                  <c:v>36.99184950279097</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C$2:$C$4</c:f>
              <c:numCache>
                <c:formatCode>#,##0.0</c:formatCode>
                <c:ptCount val="3"/>
                <c:pt idx="0">
                  <c:v>29.186098236450515</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D$2:$D$4</c:f>
              <c:numCache>
                <c:formatCode>#,##0.0</c:formatCode>
                <c:ptCount val="3"/>
                <c:pt idx="0">
                  <c:v>0.80285267402316007</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E$2:$E$4</c:f>
              <c:numCache>
                <c:formatCode>#,##0.0</c:formatCode>
                <c:ptCount val="3"/>
                <c:pt idx="0">
                  <c:v>8.807344057168276</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F$2:$F$4</c:f>
              <c:numCache>
                <c:formatCode>#,##0.0</c:formatCode>
                <c:ptCount val="3"/>
                <c:pt idx="0">
                  <c:v>24.211855529567075</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2.7165526277478524</c:v>
                </c:pt>
                <c:pt idx="1">
                  <c:v>4.3522165000504893</c:v>
                </c:pt>
                <c:pt idx="2">
                  <c:v>3.3763654419066533</c:v>
                </c:pt>
                <c:pt idx="3">
                  <c:v>5.990147405547356</c:v>
                </c:pt>
                <c:pt idx="4">
                  <c:v>3.3748546753031059</c:v>
                </c:pt>
                <c:pt idx="5">
                  <c:v>4.2</c:v>
                </c:pt>
                <c:pt idx="6">
                  <c:v>8.1999999999999993</c:v>
                </c:pt>
                <c:pt idx="7">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10.948166877370417</c:v>
                </c:pt>
                <c:pt idx="1">
                  <c:v>19.609155400883417</c:v>
                </c:pt>
                <c:pt idx="2">
                  <c:v>6.8799212598425195</c:v>
                </c:pt>
                <c:pt idx="3">
                  <c:v>4.5687416660818307</c:v>
                </c:pt>
                <c:pt idx="4">
                  <c:v>1.2112403100775195</c:v>
                </c:pt>
                <c:pt idx="5">
                  <c:v>11.9</c:v>
                </c:pt>
                <c:pt idx="6">
                  <c:v>5.7</c:v>
                </c:pt>
                <c:pt idx="7">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27.603448275862068</c:v>
                </c:pt>
                <c:pt idx="1">
                  <c:v>27.967312417852447</c:v>
                </c:pt>
                <c:pt idx="2">
                  <c:v>25.438596491228072</c:v>
                </c:pt>
                <c:pt idx="3">
                  <c:v>27.125817622162369</c:v>
                </c:pt>
                <c:pt idx="4">
                  <c:v>20.723076923076921</c:v>
                </c:pt>
                <c:pt idx="5">
                  <c:v>26.3</c:v>
                </c:pt>
                <c:pt idx="6">
                  <c:v>15.9</c:v>
                </c:pt>
                <c:pt idx="7">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4.153530724789916</c:v>
                </c:pt>
                <c:pt idx="1">
                  <c:v>3.9080491414789114</c:v>
                </c:pt>
                <c:pt idx="2">
                  <c:v>4.7149975082428854</c:v>
                </c:pt>
                <c:pt idx="3">
                  <c:v>7.3781775346432461</c:v>
                </c:pt>
                <c:pt idx="4">
                  <c:v>8.910461653015636</c:v>
                </c:pt>
                <c:pt idx="5">
                  <c:v>4.9000000000000004</c:v>
                </c:pt>
                <c:pt idx="6">
                  <c:v>6.8</c:v>
                </c:pt>
                <c:pt idx="7">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89.381038152939254</c:v>
                </c:pt>
                <c:pt idx="1">
                  <c:v>82.429393243531166</c:v>
                </c:pt>
                <c:pt idx="2">
                  <c:v>62.06727228087405</c:v>
                </c:pt>
                <c:pt idx="3">
                  <c:v>24.529793843547022</c:v>
                </c:pt>
                <c:pt idx="4">
                  <c:v>71.014618865297592</c:v>
                </c:pt>
                <c:pt idx="5">
                  <c:v>68.400000000000006</c:v>
                </c:pt>
                <c:pt idx="6">
                  <c:v>20.7</c:v>
                </c:pt>
                <c:pt idx="7">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otland</c:v>
                </c:pt>
                <c:pt idx="1">
                  <c:v>Robeson</c:v>
                </c:pt>
                <c:pt idx="2">
                  <c:v>Richmond</c:v>
                </c:pt>
                <c:pt idx="3">
                  <c:v>Hoke</c:v>
                </c:pt>
                <c:pt idx="4">
                  <c:v>Bladen</c:v>
                </c:pt>
                <c:pt idx="5">
                  <c:v>Lumber River</c:v>
                </c:pt>
                <c:pt idx="6">
                  <c:v>North Carolina</c:v>
                </c:pt>
                <c:pt idx="7">
                  <c:v>United States</c:v>
                </c:pt>
              </c:strCache>
            </c:strRef>
          </c:cat>
          <c:val>
            <c:numRef>
              <c:f>Sheet1!$B$2:$B$9</c:f>
              <c:numCache>
                <c:formatCode>0.0</c:formatCode>
                <c:ptCount val="8"/>
                <c:pt idx="0">
                  <c:v>100</c:v>
                </c:pt>
                <c:pt idx="1">
                  <c:v>86.072772898368882</c:v>
                </c:pt>
                <c:pt idx="2">
                  <c:v>72.716670758654558</c:v>
                </c:pt>
                <c:pt idx="3">
                  <c:v>40.073425585992659</c:v>
                </c:pt>
                <c:pt idx="4">
                  <c:v>84.406543682561789</c:v>
                </c:pt>
                <c:pt idx="5">
                  <c:v>77.3</c:v>
                </c:pt>
                <c:pt idx="6">
                  <c:v>29.7</c:v>
                </c:pt>
                <c:pt idx="7">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B$2:$B$4</c:f>
              <c:numCache>
                <c:formatCode>0.00</c:formatCode>
                <c:ptCount val="3"/>
                <c:pt idx="0">
                  <c:v>3.9456284717007351</c:v>
                </c:pt>
                <c:pt idx="1">
                  <c:v>4.4296238962062287</c:v>
                </c:pt>
                <c:pt idx="2">
                  <c:v>1.1499999999999999</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B$2:$B$4</c:f>
              <c:numCache>
                <c:formatCode>0.0</c:formatCode>
                <c:ptCount val="3"/>
                <c:pt idx="0">
                  <c:v>9.6993852410295798</c:v>
                </c:pt>
                <c:pt idx="1">
                  <c:v>10.285900434333007</c:v>
                </c:pt>
                <c:pt idx="2" formatCode="#,##0.0">
                  <c:v>3.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C$2:$C$4</c:f>
              <c:numCache>
                <c:formatCode>0.0</c:formatCode>
                <c:ptCount val="3"/>
                <c:pt idx="0">
                  <c:v>9.5092908053327836</c:v>
                </c:pt>
                <c:pt idx="1">
                  <c:v>10.158199176779275</c:v>
                </c:pt>
                <c:pt idx="2" formatCode="#,##0.0">
                  <c:v>3.6</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B$2:$B$4</c:f>
              <c:numCache>
                <c:formatCode>0.0</c:formatCode>
                <c:ptCount val="3"/>
                <c:pt idx="0">
                  <c:v>35.163543124718231</c:v>
                </c:pt>
                <c:pt idx="1">
                  <c:v>32.670704756158578</c:v>
                </c:pt>
                <c:pt idx="2">
                  <c:v>25.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C$2:$C$4</c:f>
              <c:numCache>
                <c:formatCode>0.0</c:formatCode>
                <c:ptCount val="3"/>
                <c:pt idx="0">
                  <c:v>9.5092908053327836</c:v>
                </c:pt>
                <c:pt idx="1">
                  <c:v>10.158199176779275</c:v>
                </c:pt>
                <c:pt idx="2">
                  <c:v>3.6</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B$2:$B$4</c:f>
              <c:numCache>
                <c:formatCode>0.0</c:formatCode>
                <c:ptCount val="3"/>
                <c:pt idx="0">
                  <c:v>3.4315339366940902</c:v>
                </c:pt>
                <c:pt idx="1">
                  <c:v>3.1906212529243381</c:v>
                </c:pt>
                <c:pt idx="2" formatCode="#,##0.0">
                  <c:v>0.4</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B$2:$B$4</c:f>
              <c:numCache>
                <c:formatCode>#,##0.0</c:formatCode>
                <c:ptCount val="3"/>
                <c:pt idx="0">
                  <c:v>24.594627559586161</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C$2:$C$4</c:f>
              <c:numCache>
                <c:formatCode>#,##0.0</c:formatCode>
                <c:ptCount val="3"/>
                <c:pt idx="0">
                  <c:v>9.2015956607212033</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D$2:$D$4</c:f>
              <c:numCache>
                <c:formatCode>#,##0.0</c:formatCode>
                <c:ptCount val="3"/>
                <c:pt idx="0">
                  <c:v>37.664122027866668</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E$2:$E$4</c:f>
              <c:numCache>
                <c:formatCode>#,##0.0</c:formatCode>
                <c:ptCount val="3"/>
                <c:pt idx="0">
                  <c:v>12.830934580780323</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F$2:$F$4</c:f>
              <c:numCache>
                <c:formatCode>#,##0.0</c:formatCode>
                <c:ptCount val="3"/>
                <c:pt idx="0">
                  <c:v>15.708720171045645</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B$2:$B$4</c:f>
              <c:numCache>
                <c:formatCode>0.0</c:formatCode>
                <c:ptCount val="3"/>
                <c:pt idx="0">
                  <c:v>28.70828963274613</c:v>
                </c:pt>
                <c:pt idx="1">
                  <c:v>28.399462765329204</c:v>
                </c:pt>
                <c:pt idx="2">
                  <c:v>35.026325913018837</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C$2:$C$4</c:f>
              <c:numCache>
                <c:formatCode>0.0</c:formatCode>
                <c:ptCount val="3"/>
                <c:pt idx="0">
                  <c:v>41.555902088108759</c:v>
                </c:pt>
                <c:pt idx="1">
                  <c:v>42.725477774104526</c:v>
                </c:pt>
                <c:pt idx="2">
                  <c:v>44.635105530535682</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umber River</c:v>
                </c:pt>
              </c:strCache>
            </c:strRef>
          </c:cat>
          <c:val>
            <c:numRef>
              <c:f>Sheet1!$D$2:$D$4</c:f>
              <c:numCache>
                <c:formatCode>0.0</c:formatCode>
                <c:ptCount val="3"/>
                <c:pt idx="0">
                  <c:v>29.735808279145072</c:v>
                </c:pt>
                <c:pt idx="1">
                  <c:v>28.875059460566249</c:v>
                </c:pt>
                <c:pt idx="2">
                  <c:v>20.33856855644548</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B$2:$B$4</c:f>
              <c:numCache>
                <c:formatCode>#,##0.0</c:formatCode>
                <c:ptCount val="3"/>
                <c:pt idx="0">
                  <c:v>18.285856719426487</c:v>
                </c:pt>
                <c:pt idx="1">
                  <c:v>10.962591300115909</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C$2:$C$4</c:f>
              <c:numCache>
                <c:formatCode>#,##0.0</c:formatCode>
                <c:ptCount val="3"/>
                <c:pt idx="0">
                  <c:v>32.070421085143622</c:v>
                </c:pt>
                <c:pt idx="1">
                  <c:v>25.231126134035375</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D$2:$D$4</c:f>
              <c:numCache>
                <c:formatCode>#,##0.0</c:formatCode>
                <c:ptCount val="3"/>
                <c:pt idx="0">
                  <c:v>33.349228109912382</c:v>
                </c:pt>
                <c:pt idx="1">
                  <c:v>30.789995477690791</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umber River</c:v>
                </c:pt>
                <c:pt idx="1">
                  <c:v>North Carolina</c:v>
                </c:pt>
                <c:pt idx="2">
                  <c:v>United States</c:v>
                </c:pt>
              </c:strCache>
            </c:strRef>
          </c:cat>
          <c:val>
            <c:numRef>
              <c:f>Sheet1!$E$2:$E$4</c:f>
              <c:numCache>
                <c:formatCode>#,##0.0</c:formatCode>
                <c:ptCount val="3"/>
                <c:pt idx="0">
                  <c:v>16.29449408551751</c:v>
                </c:pt>
                <c:pt idx="1">
                  <c:v>33.016287088157931</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umber R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15.667400073340668</c:v>
                </c:pt>
                <c:pt idx="1">
                  <c:v>13.810400660359386</c:v>
                </c:pt>
                <c:pt idx="2">
                  <c:v>13.20129870129870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umber R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7.8</c:v>
                </c:pt>
                <c:pt idx="1">
                  <c:v>12.1</c:v>
                </c:pt>
                <c:pt idx="2">
                  <c:v>18.8</c:v>
                </c:pt>
                <c:pt idx="3">
                  <c:v>8.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umber R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7.3</c:v>
                </c:pt>
                <c:pt idx="1">
                  <c:v>12.3</c:v>
                </c:pt>
                <c:pt idx="2">
                  <c:v>11.2</c:v>
                </c:pt>
                <c:pt idx="3">
                  <c:v>4.599999999999999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umber R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43.625750782505712</c:v>
                </c:pt>
                <c:pt idx="1">
                  <c:v>49.630615640599004</c:v>
                </c:pt>
                <c:pt idx="2">
                  <c:v>31.312853767104471</c:v>
                </c:pt>
                <c:pt idx="3">
                  <c:v>20.212008543627878</c:v>
                </c:pt>
                <c:pt idx="4">
                  <c:v>16.217659624970331</c:v>
                </c:pt>
                <c:pt idx="5" formatCode="0.0">
                  <c:v>8.328085642317379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umber R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3.9</c:v>
                </c:pt>
                <c:pt idx="1">
                  <c:v>23.6</c:v>
                </c:pt>
                <c:pt idx="2">
                  <c:v>24.1</c:v>
                </c:pt>
                <c:pt idx="3">
                  <c:v>14.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Lumber River</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59265145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8221019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163E5F35-A7DD-BA19-FE7A-814841572A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1" y="1028699"/>
            <a:ext cx="7596757" cy="5372101"/>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8" descr="Map&#10;&#10;Description automatically generated">
            <a:extLst>
              <a:ext uri="{FF2B5EF4-FFF2-40B4-BE49-F238E27FC236}">
                <a16:creationId xmlns:a16="http://schemas.microsoft.com/office/drawing/2014/main" id="{33A38FA1-243E-FE08-295B-B9072BCBB3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3353" y="1028700"/>
            <a:ext cx="7585294" cy="536399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C7E3F7D3-EFB9-87FF-79A9-2A968B7EB5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51404047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9" descr="Map&#10;&#10;Description automatically generated">
            <a:extLst>
              <a:ext uri="{FF2B5EF4-FFF2-40B4-BE49-F238E27FC236}">
                <a16:creationId xmlns:a16="http://schemas.microsoft.com/office/drawing/2014/main" id="{D24F2621-9537-754E-8330-EDA9970A38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83134088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4E5D142A-BA43-1AC6-1399-15E7076524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73076340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Diagram, map&#10;&#10;Description automatically generated">
            <a:extLst>
              <a:ext uri="{FF2B5EF4-FFF2-40B4-BE49-F238E27FC236}">
                <a16:creationId xmlns:a16="http://schemas.microsoft.com/office/drawing/2014/main" id="{343C37E9-F1BB-1C21-F347-49E123FD80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
        <p:nvSpPr>
          <p:cNvPr id="5" name="TextBox 4">
            <a:extLst>
              <a:ext uri="{FF2B5EF4-FFF2-40B4-BE49-F238E27FC236}">
                <a16:creationId xmlns:a16="http://schemas.microsoft.com/office/drawing/2014/main" id="{D5983BAC-F0A8-67AD-9ADA-1132EF8FA697}"/>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4152028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with low confidence">
            <a:extLst>
              <a:ext uri="{FF2B5EF4-FFF2-40B4-BE49-F238E27FC236}">
                <a16:creationId xmlns:a16="http://schemas.microsoft.com/office/drawing/2014/main" id="{9153084F-FC00-0CE4-66C8-0E07E1623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6592"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47627824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66F5E906-151A-8A14-F31C-BFF6F6AC1A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7652"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3822804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schematic&#10;&#10;Description automatically generated">
            <a:extLst>
              <a:ext uri="{FF2B5EF4-FFF2-40B4-BE49-F238E27FC236}">
                <a16:creationId xmlns:a16="http://schemas.microsoft.com/office/drawing/2014/main" id="{1D8CBC8A-DA84-2A40-2362-0658B5BBF0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40199619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56A01DA7-29EC-A2CD-67AC-FA3383E14F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4339207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EA4F6CC3-0588-CCCE-1FDF-25F2BB2166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94121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190E412C-AB2D-2EAE-DCC8-9C46E6B3C2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11604913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5A858AD0-E725-2D3F-BDE4-B4BDB92FD3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2357" y="1157814"/>
            <a:ext cx="7231043" cy="5113484"/>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4025250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7991B787-2955-26E5-638C-03EB53054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0829975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schematic&#10;&#10;Description automatically generated">
            <a:extLst>
              <a:ext uri="{FF2B5EF4-FFF2-40B4-BE49-F238E27FC236}">
                <a16:creationId xmlns:a16="http://schemas.microsoft.com/office/drawing/2014/main" id="{315C537A-B307-EABD-F0A8-70F3D38AF2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2254949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diagram&#10;&#10;Description automatically generated">
            <a:extLst>
              <a:ext uri="{FF2B5EF4-FFF2-40B4-BE49-F238E27FC236}">
                <a16:creationId xmlns:a16="http://schemas.microsoft.com/office/drawing/2014/main" id="{671A475F-205F-0708-35EE-7704CA8CC6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4090631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99F71FF4-9B01-9B33-1C81-34C03D3196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5767957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A picture containing chart&#10;&#10;Description automatically generated">
            <a:extLst>
              <a:ext uri="{FF2B5EF4-FFF2-40B4-BE49-F238E27FC236}">
                <a16:creationId xmlns:a16="http://schemas.microsoft.com/office/drawing/2014/main" id="{9E051D75-6DDE-0567-3E39-C2B074D009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72234322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0668705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Diagram&#10;&#10;Description automatically generated">
            <a:extLst>
              <a:ext uri="{FF2B5EF4-FFF2-40B4-BE49-F238E27FC236}">
                <a16:creationId xmlns:a16="http://schemas.microsoft.com/office/drawing/2014/main" id="{E6A0B221-42D4-1C8E-4990-FD0957B575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2005"/>
            <a:ext cx="7219188" cy="510510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80366725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09113785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85717889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2" y="365439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9</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75338" y="508323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9516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951612"/>
            <a:ext cx="0" cy="70277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32175" y="4590288"/>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51822125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4205620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96312113"/>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140488006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544035226"/>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6392200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16669999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23395599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5</TotalTime>
  <Words>1475</Words>
  <Application>Microsoft Office PowerPoint</Application>
  <PresentationFormat>Widescreen</PresentationFormat>
  <Paragraphs>14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0:53:57Z</dcterms:modified>
</cp:coreProperties>
</file>